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1"/>
  </p:notesMasterIdLst>
  <p:handoutMasterIdLst>
    <p:handoutMasterId r:id="rId12"/>
  </p:handoutMasterIdLst>
  <p:sldIdLst>
    <p:sldId id="256" r:id="rId6"/>
    <p:sldId id="693" r:id="rId7"/>
    <p:sldId id="657" r:id="rId8"/>
    <p:sldId id="715" r:id="rId9"/>
    <p:sldId id="711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715"/>
            <p14:sldId id="7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9E2F"/>
    <a:srgbClr val="039CD1"/>
    <a:srgbClr val="FF9833"/>
    <a:srgbClr val="EB9E2F"/>
    <a:srgbClr val="001440"/>
    <a:srgbClr val="000C26"/>
    <a:srgbClr val="B7616B"/>
    <a:srgbClr val="309BFF"/>
    <a:srgbClr val="E86160"/>
    <a:srgbClr val="F362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7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0-Sep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0-Sep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819646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0-Sep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0/09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0-Sep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Data Scien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101561"/>
            <a:ext cx="12125649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Importing data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1353523"/>
            <a:ext cx="11593145" cy="3257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reating a DataFrame from scratch is very tedious. In the data science world, data will be available for you on a spreadsheet such as MS-Excel. The job of a data scientist is to import those datasets using Pandas. Pandas can import different format of data such as </a:t>
            </a:r>
            <a:r>
              <a:rPr lang="en-US" sz="2800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xlsx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Excel data), </a:t>
            </a:r>
            <a:r>
              <a:rPr lang="en-US" sz="2800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csv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comma separated value), </a:t>
            </a:r>
            <a:r>
              <a:rPr lang="en-US" sz="2800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sav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SPSS data), </a:t>
            </a:r>
            <a:r>
              <a:rPr lang="en-US" sz="2800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800" dirty="0" err="1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STATA data), or any other data online (the web.)</a:t>
            </a: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How to read in data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723861"/>
            <a:ext cx="11593145" cy="67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’s quite simple to load data from various file formats into a DataFrame. </a:t>
            </a: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How to read data with Panda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">
            <a:extLst>
              <a:ext uri="{FF2B5EF4-FFF2-40B4-BE49-F238E27FC236}">
                <a16:creationId xmlns:a16="http://schemas.microsoft.com/office/drawing/2014/main" id="{59B07362-4789-4893-AB00-36D3661999F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1224116" y="1395712"/>
            <a:ext cx="9385992" cy="5012733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6592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9679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92695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</TotalTime>
  <Words>118</Words>
  <Application>Microsoft Office PowerPoint</Application>
  <PresentationFormat>Widescreen</PresentationFormat>
  <Paragraphs>7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Gotham Light</vt:lpstr>
      <vt:lpstr>Lato Light</vt:lpstr>
      <vt:lpstr>1_Office Theme</vt:lpstr>
      <vt:lpstr>2_Office Theme</vt:lpstr>
      <vt:lpstr>think-cell Slide</vt:lpstr>
      <vt:lpstr>Introduction to Data Science</vt:lpstr>
      <vt:lpstr>Importing data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42</cp:revision>
  <dcterms:created xsi:type="dcterms:W3CDTF">2020-03-16T19:15:12Z</dcterms:created>
  <dcterms:modified xsi:type="dcterms:W3CDTF">2021-09-10T21:2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